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1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845" y="91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6EC1F7D3-D30C-440D-9D0C-BF4EB3B126D4}"/>
    <pc:docChg chg="modSld">
      <pc:chgData name="Weigel Stefan (PAR-EPS)" userId="fd3b2067-2981-4ad8-bf3a-d2e1004e4fa8" providerId="ADAL" clId="{6EC1F7D3-D30C-440D-9D0C-BF4EB3B126D4}" dt="2024-04-11T13:50:39.793" v="8" actId="692"/>
      <pc:docMkLst>
        <pc:docMk/>
      </pc:docMkLst>
      <pc:sldChg chg="modSp mod setBg">
        <pc:chgData name="Weigel Stefan (PAR-EPS)" userId="fd3b2067-2981-4ad8-bf3a-d2e1004e4fa8" providerId="ADAL" clId="{6EC1F7D3-D30C-440D-9D0C-BF4EB3B126D4}" dt="2024-04-11T13:50:39.793" v="8" actId="692"/>
        <pc:sldMkLst>
          <pc:docMk/>
          <pc:sldMk cId="1708932620" sldId="407"/>
        </pc:sldMkLst>
        <pc:spChg chg="mod">
          <ac:chgData name="Weigel Stefan (PAR-EPS)" userId="fd3b2067-2981-4ad8-bf3a-d2e1004e4fa8" providerId="ADAL" clId="{6EC1F7D3-D30C-440D-9D0C-BF4EB3B126D4}" dt="2024-04-11T13:50:23.687" v="6" actId="255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PS)" userId="fd3b2067-2981-4ad8-bf3a-d2e1004e4fa8" providerId="ADAL" clId="{6EC1F7D3-D30C-440D-9D0C-BF4EB3B126D4}" dt="2024-04-11T13:50:18.210" v="5" actId="255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PS)" userId="fd3b2067-2981-4ad8-bf3a-d2e1004e4fa8" providerId="ADAL" clId="{6EC1F7D3-D30C-440D-9D0C-BF4EB3B126D4}" dt="2024-04-11T13:50:39.793" v="8" actId="692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0925AB61-B3A2-4F04-9C13-BCA25D776C2F}"/>
    <pc:docChg chg="modSld">
      <pc:chgData name="Weigel Stefan (PAR-EPS)" userId="fd3b2067-2981-4ad8-bf3a-d2e1004e4fa8" providerId="ADAL" clId="{0925AB61-B3A2-4F04-9C13-BCA25D776C2F}" dt="2025-01-06T11:47:38.580" v="8" actId="20577"/>
      <pc:docMkLst>
        <pc:docMk/>
      </pc:docMkLst>
      <pc:sldChg chg="modSp mod">
        <pc:chgData name="Weigel Stefan (PAR-EPS)" userId="fd3b2067-2981-4ad8-bf3a-d2e1004e4fa8" providerId="ADAL" clId="{0925AB61-B3A2-4F04-9C13-BCA25D776C2F}" dt="2025-01-06T11:47:38.580" v="8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0925AB61-B3A2-4F04-9C13-BCA25D776C2F}" dt="2025-01-06T11:47:38.580" v="8" actId="20577"/>
          <ac:spMkLst>
            <pc:docMk/>
            <pc:sldMk cId="1708932620" sldId="407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0D254040-4254-461D-B139-9C1EBF3BBCAD}"/>
    <pc:docChg chg="modSld">
      <pc:chgData name="Weigel Stefan (PAR-EPS)" userId="fd3b2067-2981-4ad8-bf3a-d2e1004e4fa8" providerId="ADAL" clId="{0D254040-4254-461D-B139-9C1EBF3BBCAD}" dt="2024-02-28T13:58:19.873" v="16" actId="20577"/>
      <pc:docMkLst>
        <pc:docMk/>
      </pc:docMkLst>
      <pc:sldChg chg="modSp mod">
        <pc:chgData name="Weigel Stefan (PAR-EPS)" userId="fd3b2067-2981-4ad8-bf3a-d2e1004e4fa8" providerId="ADAL" clId="{0D254040-4254-461D-B139-9C1EBF3BBCAD}" dt="2024-02-28T13:58:19.873" v="16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0D254040-4254-461D-B139-9C1EBF3BBCAD}" dt="2024-02-28T13:52:56.897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D254040-4254-461D-B139-9C1EBF3BBCAD}" dt="2024-02-28T13:53:06.255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0D254040-4254-461D-B139-9C1EBF3BBCAD}" dt="2024-02-28T13:58:19.873" v="16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network density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ay</c:v>
                </c:pt>
                <c:pt idx="1">
                  <c:v>Finland</c:v>
                </c:pt>
                <c:pt idx="2">
                  <c:v>Sweden</c:v>
                </c:pt>
                <c:pt idx="3">
                  <c:v>Spain</c:v>
                </c:pt>
                <c:pt idx="4">
                  <c:v>Romania</c:v>
                </c:pt>
                <c:pt idx="5">
                  <c:v>France</c:v>
                </c:pt>
                <c:pt idx="6">
                  <c:v>Italy</c:v>
                </c:pt>
                <c:pt idx="7">
                  <c:v>Denmark</c:v>
                </c:pt>
                <c:pt idx="8">
                  <c:v>Poland</c:v>
                </c:pt>
                <c:pt idx="9">
                  <c:v>Austria</c:v>
                </c:pt>
                <c:pt idx="10">
                  <c:v>Great Britain</c:v>
                </c:pt>
                <c:pt idx="11">
                  <c:v>Netherlands</c:v>
                </c:pt>
                <c:pt idx="12">
                  <c:v>Germany</c:v>
                </c:pt>
                <c:pt idx="13">
                  <c:v>Czechia</c:v>
                </c:pt>
                <c:pt idx="14">
                  <c:v>Switzerland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512148686818</c:v>
                </c:pt>
                <c:pt idx="1">
                  <c:v>17.478746258248101</c:v>
                </c:pt>
                <c:pt idx="2">
                  <c:v>24.375089400657998</c:v>
                </c:pt>
                <c:pt idx="3">
                  <c:v>31.8459908732112</c:v>
                </c:pt>
                <c:pt idx="4">
                  <c:v>44.5096015906174</c:v>
                </c:pt>
                <c:pt idx="5">
                  <c:v>50.738332178420499</c:v>
                </c:pt>
                <c:pt idx="6">
                  <c:v>55.720523439232799</c:v>
                </c:pt>
                <c:pt idx="7">
                  <c:v>57.029702970297002</c:v>
                </c:pt>
                <c:pt idx="8">
                  <c:v>62.639455258905897</c:v>
                </c:pt>
                <c:pt idx="9">
                  <c:v>66.489425117432503</c:v>
                </c:pt>
                <c:pt idx="10">
                  <c:v>69.225317445973502</c:v>
                </c:pt>
                <c:pt idx="11">
                  <c:v>81.358018085504796</c:v>
                </c:pt>
                <c:pt idx="12">
                  <c:v>108.205688971919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6.0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density in Europe </a:t>
            </a:r>
            <a:r>
              <a:rPr lang="en-US"/>
              <a:t>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53074969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res of railway per square kilometre of land surfac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6AD7FC-130C-4132-9657-E0F1CA5DF0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etwork density in Europe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density in Europe in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1-06T11:5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